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8" r:id="rId2"/>
    <p:sldId id="257" r:id="rId3"/>
  </p:sldIdLst>
  <p:sldSz cx="9144000" cy="6858000" type="screen4x3"/>
  <p:notesSz cx="7010400" cy="92964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-137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8105253-FAF2-40A5-A03F-20956339FA81}" type="datetimeFigureOut">
              <a:rPr lang="fr-FR" smtClean="0"/>
              <a:t>30/04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90B3DD8-45E6-49D1-9C40-82C7D35BBD5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8101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JFD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24/01/2014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721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C9E987-9371-41A0-AB78-45D0BF2BA80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245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7843ED-812E-4766-9F57-4E8F767D239C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318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B29B7-54E4-4DAE-8B6F-FEC6DACA0CA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155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3545D5-917F-4DC8-864A-4A123737081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085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BB341D-1575-4EBD-BA28-719203FFD55E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869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B9802-CD8D-4FE3-A792-4FD71FA56D87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804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648DB-0063-4989-B7A1-89DD9A91CC2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515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3A7CCE-AF7D-4C18-8B2D-7539B82C3BAD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06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4912FC-3A92-471F-8A59-92F7620E2E8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622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60635C-4C4C-4851-A6A7-581D89207CA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03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1F7C67-71F4-414B-8CCE-53191E1E014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9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2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53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2054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F89BCB-0FE8-46A9-80B5-8E397ACAFD6C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2056" name="Group 33"/>
          <p:cNvGrpSpPr>
            <a:grpSpLocks/>
          </p:cNvGrpSpPr>
          <p:nvPr userDrawn="1"/>
        </p:nvGrpSpPr>
        <p:grpSpPr bwMode="auto">
          <a:xfrm rot="944328">
            <a:off x="31750" y="223838"/>
            <a:ext cx="1371600" cy="360362"/>
            <a:chOff x="2160" y="3744"/>
            <a:chExt cx="2160" cy="568"/>
          </a:xfrm>
        </p:grpSpPr>
        <p:sp>
          <p:nvSpPr>
            <p:cNvPr id="2058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59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6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le 30 avril 2014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73545D5-917F-4DC8-864A-4A123737081A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763688" y="2780928"/>
            <a:ext cx="5831879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 eaLnBrk="1" hangingPunct="1">
              <a:buNone/>
            </a:pPr>
            <a:r>
              <a:rPr lang="fr-FR" sz="2400" kern="0" dirty="0" smtClean="0"/>
              <a:t>Synthèse du </a:t>
            </a:r>
            <a:r>
              <a:rPr lang="fr-FR" sz="2400" kern="0" dirty="0" smtClean="0"/>
              <a:t>besoin financier </a:t>
            </a:r>
            <a:r>
              <a:rPr lang="fr-FR" sz="2400" kern="0" dirty="0" smtClean="0"/>
              <a:t>EcoTitanium</a:t>
            </a:r>
          </a:p>
        </p:txBody>
      </p:sp>
    </p:spTree>
    <p:extLst>
      <p:ext uri="{BB962C8B-B14F-4D97-AF65-F5344CB8AC3E}">
        <p14:creationId xmlns:p14="http://schemas.microsoft.com/office/powerpoint/2010/main" val="2764292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CF909C3-F54F-42DA-8CE4-44B940AE2B88}" type="slidenum">
              <a:rPr lang="fr-FR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45059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404664"/>
            <a:ext cx="8229600" cy="649288"/>
          </a:xfrm>
        </p:spPr>
        <p:txBody>
          <a:bodyPr/>
          <a:lstStyle/>
          <a:p>
            <a:pPr eaLnBrk="1" hangingPunct="1"/>
            <a:r>
              <a:rPr lang="fr-FR" sz="2000" dirty="0" smtClean="0"/>
              <a:t>Bilan des besoins financiers</a:t>
            </a:r>
            <a:endParaRPr lang="fr-FR" sz="2000" dirty="0" smtClean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202315"/>
              </p:ext>
            </p:extLst>
          </p:nvPr>
        </p:nvGraphicFramePr>
        <p:xfrm>
          <a:off x="251521" y="1340768"/>
          <a:ext cx="8352931" cy="1382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1"/>
                <a:gridCol w="720080"/>
                <a:gridCol w="648072"/>
                <a:gridCol w="720080"/>
                <a:gridCol w="648072"/>
                <a:gridCol w="720080"/>
                <a:gridCol w="648072"/>
                <a:gridCol w="648072"/>
                <a:gridCol w="115213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600" b="0" dirty="0" smtClean="0">
                          <a:solidFill>
                            <a:schemeClr val="tx1"/>
                          </a:solidFill>
                        </a:rPr>
                        <a:t>Besoins  </a:t>
                      </a:r>
                      <a:r>
                        <a:rPr lang="fr-FR" sz="1600" b="0" dirty="0" smtClean="0">
                          <a:solidFill>
                            <a:schemeClr val="tx1"/>
                          </a:solidFill>
                        </a:rPr>
                        <a:t>financiers</a:t>
                      </a:r>
                      <a:endParaRPr lang="fr-FR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dirty="0" smtClean="0">
                          <a:solidFill>
                            <a:schemeClr val="tx1"/>
                          </a:solidFill>
                        </a:rPr>
                        <a:t>20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smtClean="0">
                          <a:solidFill>
                            <a:schemeClr val="tx1"/>
                          </a:solidFill>
                        </a:rPr>
                        <a:t>201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baseline="0" dirty="0" smtClean="0">
                          <a:solidFill>
                            <a:schemeClr val="tx1"/>
                          </a:solidFill>
                        </a:rPr>
                        <a:t>20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baseline="0" dirty="0" smtClean="0">
                          <a:solidFill>
                            <a:schemeClr val="tx1"/>
                          </a:solidFill>
                        </a:rPr>
                        <a:t>20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baseline="0" dirty="0" smtClean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smtClean="0">
                          <a:solidFill>
                            <a:schemeClr val="tx1"/>
                          </a:solidFill>
                        </a:rPr>
                        <a:t>Total sur durée proj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Investissement (M€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13,6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26,2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3,4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,8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,2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0,7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56,9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Variation de BFR (M€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0,6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(0,3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(2,8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(1,5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(1,6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Exploitation (M€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(2,7)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(1,8)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(1,9)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2,6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5,6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0,1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Espace réservé du pied de page 1"/>
          <p:cNvSpPr>
            <a:spLocks noGrp="1"/>
          </p:cNvSpPr>
          <p:nvPr>
            <p:ph type="ftr" sz="quarter" idx="10"/>
          </p:nvPr>
        </p:nvSpPr>
        <p:spPr>
          <a:xfrm>
            <a:off x="5205413" y="6486525"/>
            <a:ext cx="2895600" cy="268288"/>
          </a:xfrm>
        </p:spPr>
        <p:txBody>
          <a:bodyPr/>
          <a:lstStyle/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le 30 avril 2014</a:t>
            </a: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76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heme/theme1.xml><?xml version="1.0" encoding="utf-8"?>
<a:theme xmlns:a="http://schemas.openxmlformats.org/drawingml/2006/main" name="5_Conception personnalisée">
  <a:themeElements>
    <a:clrScheme name="4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</TotalTime>
  <Words>88</Words>
  <Application>Microsoft Office PowerPoint</Application>
  <PresentationFormat>Affichage à l'écran (4:3)</PresentationFormat>
  <Paragraphs>43</Paragraphs>
  <Slides>2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3" baseType="lpstr">
      <vt:lpstr>5_Conception personnalisée</vt:lpstr>
      <vt:lpstr>Présentation PowerPoint</vt:lpstr>
      <vt:lpstr>Bilan des besoins financiers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aymond Allier</dc:creator>
  <cp:lastModifiedBy>Raymond Allier</cp:lastModifiedBy>
  <cp:revision>13</cp:revision>
  <cp:lastPrinted>2014-04-30T13:44:23Z</cp:lastPrinted>
  <dcterms:created xsi:type="dcterms:W3CDTF">2014-02-27T17:39:41Z</dcterms:created>
  <dcterms:modified xsi:type="dcterms:W3CDTF">2014-04-30T16:29:15Z</dcterms:modified>
</cp:coreProperties>
</file>